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7" r:id="rId3"/>
    <p:sldId id="258" r:id="rId4"/>
    <p:sldId id="259" r:id="rId5"/>
    <p:sldId id="260" r:id="rId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152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613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3097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743A66-F945-4C77-A3A6-0F20D705054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9644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ires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76200" y="0"/>
            <a:ext cx="2133600" cy="75549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333399">
                  <a:lumMod val="75000"/>
                </a:srgbClr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-801291" y="3315097"/>
            <a:ext cx="6173788" cy="79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100147" y="914400"/>
            <a:ext cx="2096590" cy="4572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333399">
                  <a:lumMod val="75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209800" y="914400"/>
            <a:ext cx="6821904" cy="457200"/>
          </a:xfrm>
          <a:prstGeom prst="rect">
            <a:avLst/>
          </a:prstGeom>
          <a:solidFill>
            <a:schemeClr val="bg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333399">
                  <a:lumMod val="75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310064" y="1002268"/>
            <a:ext cx="6681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903772" y="1676400"/>
            <a:ext cx="585930" cy="5036077"/>
          </a:xfrm>
          <a:prstGeom prst="rect">
            <a:avLst/>
          </a:prstGeom>
        </p:spPr>
        <p:txBody>
          <a:bodyPr vert="wordArtVert"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FFFFF">
                    <a:lumMod val="75000"/>
                  </a:srgbClr>
                </a:solidFill>
                <a:latin typeface="DIN-BoldAlternate"/>
              </a:rPr>
              <a:t>SMASH TAG SULTAN</a:t>
            </a:r>
          </a:p>
          <a:p>
            <a:pPr algn="ctr"/>
            <a:r>
              <a:rPr lang="en-US" sz="1200" b="1" dirty="0" smtClean="0">
                <a:solidFill>
                  <a:srgbClr val="FFFFFF">
                    <a:lumMod val="75000"/>
                  </a:srgbClr>
                </a:solidFill>
                <a:latin typeface="DIN-BoldAlternate"/>
              </a:rPr>
              <a:t> </a:t>
            </a:r>
            <a:endParaRPr lang="en-US" sz="1200" dirty="0">
              <a:solidFill>
                <a:srgbClr val="FFFFFF">
                  <a:lumMod val="75000"/>
                </a:srgb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4" r="36691"/>
          <a:stretch/>
        </p:blipFill>
        <p:spPr>
          <a:xfrm>
            <a:off x="8364583" y="914400"/>
            <a:ext cx="627017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154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97BB00-0CF9-4680-AE8D-934B46A878A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465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B7CF49-2E98-4FC3-A0C5-D24BCD89238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6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3B1458-AAB0-49F4-BF71-982B0F7F294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915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FAB622-DC84-4D4B-804A-099AA93FE36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587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81CAD3-C99F-483E-9AA2-5B0A09B57FFC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402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E2EED4-F5B3-4A7A-A6C6-0B731E34A49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924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0212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050284-E1C9-49C0-9F93-ABFB0A75E92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470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E5C0D6-3EB7-4B54-98BA-66B696BB53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39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8DE0ED-D116-4D63-963D-8D0F010203C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991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474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548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393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68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8016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344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451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2BFF44-9DBD-4773-82F8-53EE056822D8}" type="datetimeFigureOut">
              <a:rPr lang="en-US" smtClean="0"/>
              <a:t>10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AC4D76-54CB-47F3-887B-5423A73135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865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90928566-1833-4C6A-9DF2-F7938075590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608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18" Type="http://schemas.openxmlformats.org/officeDocument/2006/relationships/image" Target="../media/image18.jpg"/><Relationship Id="rId3" Type="http://schemas.openxmlformats.org/officeDocument/2006/relationships/tags" Target="../tags/tag3.xml"/><Relationship Id="rId21" Type="http://schemas.openxmlformats.org/officeDocument/2006/relationships/image" Target="../media/image21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17" Type="http://schemas.openxmlformats.org/officeDocument/2006/relationships/image" Target="../media/image17.jpeg"/><Relationship Id="rId2" Type="http://schemas.openxmlformats.org/officeDocument/2006/relationships/tags" Target="../tags/tag2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5" Type="http://schemas.openxmlformats.org/officeDocument/2006/relationships/image" Target="../media/image5.png"/><Relationship Id="rId15" Type="http://schemas.openxmlformats.org/officeDocument/2006/relationships/image" Target="../media/image15.jpg"/><Relationship Id="rId23" Type="http://schemas.openxmlformats.org/officeDocument/2006/relationships/image" Target="../media/image23.png"/><Relationship Id="rId10" Type="http://schemas.openxmlformats.org/officeDocument/2006/relationships/image" Target="../media/image10.jpeg"/><Relationship Id="rId19" Type="http://schemas.openxmlformats.org/officeDocument/2006/relationships/image" Target="../media/image19.jpe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9.jpg"/><Relationship Id="rId14" Type="http://schemas.openxmlformats.org/officeDocument/2006/relationships/image" Target="../media/image14.jpeg"/><Relationship Id="rId22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jpeg"/><Relationship Id="rId18" Type="http://schemas.openxmlformats.org/officeDocument/2006/relationships/image" Target="../media/image18.jpg"/><Relationship Id="rId3" Type="http://schemas.openxmlformats.org/officeDocument/2006/relationships/tags" Target="../tags/tag6.xml"/><Relationship Id="rId21" Type="http://schemas.openxmlformats.org/officeDocument/2006/relationships/image" Target="../media/image26.png"/><Relationship Id="rId7" Type="http://schemas.openxmlformats.org/officeDocument/2006/relationships/image" Target="../media/image6.png"/><Relationship Id="rId12" Type="http://schemas.openxmlformats.org/officeDocument/2006/relationships/image" Target="../media/image11.jpeg"/><Relationship Id="rId17" Type="http://schemas.openxmlformats.org/officeDocument/2006/relationships/image" Target="../media/image17.jpeg"/><Relationship Id="rId2" Type="http://schemas.openxmlformats.org/officeDocument/2006/relationships/tags" Target="../tags/tag5.xml"/><Relationship Id="rId16" Type="http://schemas.openxmlformats.org/officeDocument/2006/relationships/image" Target="../media/image20.png"/><Relationship Id="rId20" Type="http://schemas.openxmlformats.org/officeDocument/2006/relationships/image" Target="../media/image25.png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11" Type="http://schemas.openxmlformats.org/officeDocument/2006/relationships/image" Target="../media/image10.jpeg"/><Relationship Id="rId24" Type="http://schemas.openxmlformats.org/officeDocument/2006/relationships/image" Target="../media/image29.png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15.jpg"/><Relationship Id="rId23" Type="http://schemas.openxmlformats.org/officeDocument/2006/relationships/image" Target="../media/image28.png"/><Relationship Id="rId10" Type="http://schemas.openxmlformats.org/officeDocument/2006/relationships/image" Target="../media/image9.jpg"/><Relationship Id="rId19" Type="http://schemas.openxmlformats.org/officeDocument/2006/relationships/image" Target="../media/image24.jpeg"/><Relationship Id="rId4" Type="http://schemas.openxmlformats.org/officeDocument/2006/relationships/tags" Target="../tags/tag7.xml"/><Relationship Id="rId9" Type="http://schemas.openxmlformats.org/officeDocument/2006/relationships/image" Target="../media/image8.jpeg"/><Relationship Id="rId14" Type="http://schemas.openxmlformats.org/officeDocument/2006/relationships/image" Target="../media/image14.jpeg"/><Relationship Id="rId22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152400" y="944880"/>
            <a:ext cx="8747760" cy="3840480"/>
            <a:chOff x="152400" y="944880"/>
            <a:chExt cx="8747760" cy="384048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" r="11246"/>
            <a:stretch/>
          </p:blipFill>
          <p:spPr>
            <a:xfrm>
              <a:off x="3954781" y="944880"/>
              <a:ext cx="1013459" cy="1143000"/>
            </a:xfrm>
            <a:prstGeom prst="rect">
              <a:avLst/>
            </a:prstGeom>
            <a:ln w="28575">
              <a:solidFill>
                <a:schemeClr val="tx2"/>
              </a:solidFill>
            </a:ln>
          </p:spPr>
        </p:pic>
        <p:sp>
          <p:nvSpPr>
            <p:cNvPr id="5" name="Rectangle 4"/>
            <p:cNvSpPr/>
            <p:nvPr/>
          </p:nvSpPr>
          <p:spPr>
            <a:xfrm>
              <a:off x="1737360" y="2225040"/>
              <a:ext cx="5516880" cy="1341120"/>
            </a:xfrm>
            <a:prstGeom prst="rect">
              <a:avLst/>
            </a:prstGeom>
            <a:noFill/>
            <a:ln w="22225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GM</a:t>
              </a:r>
            </a:p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Walid El </a:t>
              </a:r>
              <a:r>
                <a:rPr lang="en-US" sz="1400" dirty="0" err="1" smtClean="0">
                  <a:solidFill>
                    <a:schemeClr val="tx2"/>
                  </a:solidFill>
                </a:rPr>
                <a:t>Kirdawy</a:t>
              </a:r>
              <a:r>
                <a:rPr lang="en-US" sz="1400" dirty="0" smtClean="0">
                  <a:solidFill>
                    <a:schemeClr val="tx2"/>
                  </a:solidFill>
                </a:rPr>
                <a:t> </a:t>
              </a:r>
            </a:p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Smash Tennis Academy</a:t>
              </a:r>
            </a:p>
            <a:p>
              <a:pPr algn="ctr"/>
              <a:endParaRPr lang="en-US" sz="1400" b="1" dirty="0">
                <a:solidFill>
                  <a:schemeClr val="tx2"/>
                </a:solidFill>
              </a:endParaRPr>
            </a:p>
            <a:p>
              <a:pPr algn="ctr"/>
              <a:r>
                <a:rPr lang="en-US" sz="1400" b="1" dirty="0" smtClean="0">
                  <a:solidFill>
                    <a:schemeClr val="tx2"/>
                  </a:solidFill>
                </a:rPr>
                <a:t>25 YEARS OF EXPERIENCE IN THE HOSPITALITY FIELD  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19812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Sports </a:t>
              </a: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Manager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164592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F&amp;B </a:t>
              </a:r>
            </a:p>
            <a:p>
              <a:pPr algn="ctr"/>
              <a:r>
                <a:rPr lang="en-US" sz="1200" dirty="0" smtClean="0"/>
                <a:t>Manager</a:t>
              </a:r>
              <a:endParaRPr lang="en-US" sz="1200" dirty="0"/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12420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ustomer Service Manager</a:t>
              </a:r>
              <a:endParaRPr lang="en-US" sz="1200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457200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Accounting Manager</a:t>
              </a:r>
              <a:endParaRPr lang="en-US" sz="1200" dirty="0"/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605028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Admin &amp; Facility Manager</a:t>
              </a:r>
              <a:endParaRPr lang="en-US" sz="1200" dirty="0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751332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mmunication Rep.</a:t>
              </a:r>
              <a:endParaRPr lang="en-US" sz="120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2400" y="4465320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112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630680" y="4465320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60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093720" y="4471987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9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572000" y="4471987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13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035040" y="4465320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67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7498080" y="4471987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1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6104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152400" y="944880"/>
            <a:ext cx="8747760" cy="3840480"/>
            <a:chOff x="152400" y="944880"/>
            <a:chExt cx="8747760" cy="384048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1742" y="944880"/>
              <a:ext cx="859536" cy="1143000"/>
            </a:xfrm>
            <a:prstGeom prst="rect">
              <a:avLst/>
            </a:prstGeom>
            <a:ln w="28575">
              <a:solidFill>
                <a:schemeClr val="tx2"/>
              </a:solidFill>
            </a:ln>
          </p:spPr>
        </p:pic>
        <p:sp>
          <p:nvSpPr>
            <p:cNvPr id="5" name="Rectangle 4"/>
            <p:cNvSpPr/>
            <p:nvPr/>
          </p:nvSpPr>
          <p:spPr>
            <a:xfrm>
              <a:off x="1737360" y="2225040"/>
              <a:ext cx="5516880" cy="1341120"/>
            </a:xfrm>
            <a:prstGeom prst="rect">
              <a:avLst/>
            </a:prstGeom>
            <a:noFill/>
            <a:ln w="22225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GM</a:t>
              </a:r>
            </a:p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Shehab Mohamed</a:t>
              </a:r>
            </a:p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Smash </a:t>
              </a:r>
              <a:r>
                <a:rPr lang="en-US" sz="1400" dirty="0" err="1" smtClean="0">
                  <a:solidFill>
                    <a:schemeClr val="tx2"/>
                  </a:solidFill>
                </a:rPr>
                <a:t>Kattameya</a:t>
              </a:r>
              <a:r>
                <a:rPr lang="en-US" sz="1400" dirty="0" smtClean="0">
                  <a:solidFill>
                    <a:schemeClr val="tx2"/>
                  </a:solidFill>
                </a:rPr>
                <a:t> Residence Club</a:t>
              </a:r>
            </a:p>
            <a:p>
              <a:pPr algn="ctr"/>
              <a:endParaRPr lang="en-US" sz="1400" b="1" dirty="0">
                <a:solidFill>
                  <a:schemeClr val="tx2"/>
                </a:solidFill>
              </a:endParaRPr>
            </a:p>
            <a:p>
              <a:pPr algn="ctr"/>
              <a:r>
                <a:rPr lang="en-US" sz="1400" b="1" dirty="0" smtClean="0">
                  <a:solidFill>
                    <a:schemeClr val="tx2"/>
                  </a:solidFill>
                </a:rPr>
                <a:t>21 YEARS OF EXPERIENCE IN THE HOSPITALITY FIELD  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19812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Sports </a:t>
              </a: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Manager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164592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F&amp;B </a:t>
              </a:r>
            </a:p>
            <a:p>
              <a:pPr algn="ctr"/>
              <a:r>
                <a:rPr lang="en-US" sz="1200" dirty="0" smtClean="0"/>
                <a:t>Manager</a:t>
              </a:r>
              <a:endParaRPr lang="en-US" sz="1200" dirty="0"/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12420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ustomer Service Manager</a:t>
              </a:r>
              <a:endParaRPr lang="en-US" sz="1200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457200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Accounting Manager</a:t>
              </a:r>
              <a:endParaRPr lang="en-US" sz="1200" dirty="0"/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605028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Admin &amp; Facility Manager</a:t>
              </a:r>
              <a:endParaRPr lang="en-US" sz="1200" dirty="0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7513320" y="3733800"/>
              <a:ext cx="1371600" cy="6096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mmunication Rep.</a:t>
              </a:r>
              <a:endParaRPr lang="en-US" sz="120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2400" y="4465320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39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630680" y="4465320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42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093720" y="4471987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4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572000" y="4471987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10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035040" y="4465320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smtClean="0">
                  <a:solidFill>
                    <a:schemeClr val="tx2"/>
                  </a:solidFill>
                </a:rPr>
                <a:t>42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7498080" y="4471987"/>
              <a:ext cx="1402080" cy="313373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1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11228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H="1">
            <a:off x="7601424" y="2438400"/>
            <a:ext cx="1390176" cy="1676400"/>
          </a:xfrm>
          <a:prstGeom prst="homePlate">
            <a:avLst>
              <a:gd name="adj" fmla="val 20137"/>
            </a:avLst>
          </a:prstGeom>
          <a:solidFill>
            <a:schemeClr val="accent3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8000" tIns="91440" rIns="36000" bIns="91440" anchor="ctr"/>
          <a:lstStyle/>
          <a:p>
            <a:pPr algn="ctr" eaLnBrk="0" hangingPunct="0"/>
            <a:r>
              <a:rPr lang="ar-EG" sz="1200" b="1" dirty="0" smtClean="0">
                <a:solidFill>
                  <a:srgbClr val="2D2D8A"/>
                </a:solidFill>
              </a:rPr>
              <a:t>ادارة الأندية</a:t>
            </a:r>
            <a:endParaRPr lang="en-GB" sz="1200" b="1" dirty="0" smtClean="0">
              <a:solidFill>
                <a:srgbClr val="2D2D8A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877" y="2523339"/>
            <a:ext cx="464923" cy="46492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2438400"/>
            <a:ext cx="499748" cy="56981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38" r="11795"/>
          <a:stretch/>
        </p:blipFill>
        <p:spPr>
          <a:xfrm>
            <a:off x="5333998" y="2629989"/>
            <a:ext cx="862150" cy="29183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9424" y="2590800"/>
            <a:ext cx="628176" cy="41671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5452349"/>
            <a:ext cx="1090582" cy="5334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824" y="2514600"/>
            <a:ext cx="650695" cy="57637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00" y="4419600"/>
            <a:ext cx="533400" cy="53277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006" y="4420224"/>
            <a:ext cx="472394" cy="53277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362200" y="2438400"/>
            <a:ext cx="5181600" cy="71985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362200" y="3394949"/>
            <a:ext cx="5181600" cy="71985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362200" y="4358655"/>
            <a:ext cx="5181600" cy="71985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362200" y="5376149"/>
            <a:ext cx="5181600" cy="71985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2" r="12440" b="7225"/>
          <a:stretch/>
        </p:blipFill>
        <p:spPr>
          <a:xfrm>
            <a:off x="3806870" y="3437674"/>
            <a:ext cx="536530" cy="600926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2874" y="4443209"/>
            <a:ext cx="644705" cy="4836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488" y="5501988"/>
            <a:ext cx="1048512" cy="420624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3326" y="3437674"/>
            <a:ext cx="445474" cy="600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118" y="4572000"/>
            <a:ext cx="844882" cy="361852"/>
          </a:xfrm>
          <a:prstGeom prst="rect">
            <a:avLst/>
          </a:prstGeom>
        </p:spPr>
      </p:pic>
      <p:pic>
        <p:nvPicPr>
          <p:cNvPr id="2049" name="Picture 2048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400" y="4495800"/>
            <a:ext cx="855026" cy="41167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1457" y="2456349"/>
            <a:ext cx="952246" cy="67319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2590800"/>
            <a:ext cx="701001" cy="352762"/>
          </a:xfrm>
          <a:prstGeom prst="rect">
            <a:avLst/>
          </a:prstGeom>
        </p:spPr>
      </p:pic>
      <p:sp>
        <p:nvSpPr>
          <p:cNvPr id="33" name="AutoShape 2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7772400" y="4358654"/>
            <a:ext cx="1219200" cy="719851"/>
          </a:xfrm>
          <a:prstGeom prst="homePlate">
            <a:avLst>
              <a:gd name="adj" fmla="val 20137"/>
            </a:avLst>
          </a:prstGeom>
          <a:solidFill>
            <a:schemeClr val="accent3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8000" tIns="91440" rIns="36000" bIns="91440" anchor="ctr"/>
          <a:lstStyle/>
          <a:p>
            <a:pPr algn="ctr" eaLnBrk="0" hangingPunct="0"/>
            <a:r>
              <a:rPr lang="ar-EG" sz="1200" b="1" dirty="0" smtClean="0">
                <a:solidFill>
                  <a:srgbClr val="2D2D8A"/>
                </a:solidFill>
              </a:rPr>
              <a:t>ادارة الأنشطة الرياضيه</a:t>
            </a:r>
            <a:endParaRPr lang="en-GB" sz="1200" b="1" dirty="0" smtClean="0">
              <a:solidFill>
                <a:srgbClr val="2D2D8A"/>
              </a:solidFill>
            </a:endParaRPr>
          </a:p>
        </p:txBody>
      </p:sp>
      <p:sp>
        <p:nvSpPr>
          <p:cNvPr id="35" name="AutoShape 2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7772400" y="5376149"/>
            <a:ext cx="1237776" cy="719851"/>
          </a:xfrm>
          <a:prstGeom prst="homePlate">
            <a:avLst>
              <a:gd name="adj" fmla="val 20137"/>
            </a:avLst>
          </a:prstGeom>
          <a:solidFill>
            <a:schemeClr val="accent3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8000" tIns="91440" rIns="36000" bIns="91440" anchor="ctr"/>
          <a:lstStyle/>
          <a:p>
            <a:pPr algn="ctr" eaLnBrk="0" hangingPunct="0"/>
            <a:r>
              <a:rPr lang="ar-EG" sz="1200" b="1" dirty="0" smtClean="0">
                <a:solidFill>
                  <a:srgbClr val="2D2D8A"/>
                </a:solidFill>
              </a:rPr>
              <a:t>الإستشارات الفنية</a:t>
            </a:r>
            <a:endParaRPr lang="en-GB" sz="1200" b="1" dirty="0" smtClean="0">
              <a:solidFill>
                <a:srgbClr val="2D2D8A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3505200"/>
            <a:ext cx="661443" cy="495603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846016" y="5445403"/>
            <a:ext cx="554784" cy="6096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870611" y="4572000"/>
            <a:ext cx="1072989" cy="304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52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3810000" y="2438400"/>
            <a:ext cx="5181600" cy="71985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AutoShap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412" y="2460257"/>
            <a:ext cx="1503692" cy="719851"/>
          </a:xfrm>
          <a:prstGeom prst="homePlate">
            <a:avLst>
              <a:gd name="adj" fmla="val 20137"/>
            </a:avLst>
          </a:prstGeom>
          <a:solidFill>
            <a:schemeClr val="accent3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8000" tIns="91440" rIns="36000" bIns="91440" anchor="ctr"/>
          <a:lstStyle/>
          <a:p>
            <a:pPr algn="l" eaLnBrk="0" hangingPunct="0"/>
            <a:r>
              <a:rPr lang="en-GB" sz="1200" b="1" dirty="0" smtClean="0">
                <a:solidFill>
                  <a:schemeClr val="accent6"/>
                </a:solidFill>
                <a:cs typeface="Arial" charset="0"/>
              </a:rPr>
              <a:t>Club MGMT Services </a:t>
            </a:r>
          </a:p>
          <a:p>
            <a:pPr algn="l" eaLnBrk="0" hangingPunct="0"/>
            <a:r>
              <a:rPr lang="en-GB" sz="1200" b="1" dirty="0" smtClean="0">
                <a:solidFill>
                  <a:schemeClr val="accent6"/>
                </a:solidFill>
                <a:cs typeface="Arial" charset="0"/>
              </a:rPr>
              <a:t>(Premium Segment)</a:t>
            </a:r>
          </a:p>
        </p:txBody>
      </p:sp>
      <p:sp>
        <p:nvSpPr>
          <p:cNvPr id="33" name="AutoShape 2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89412" y="3380412"/>
            <a:ext cx="1503692" cy="719851"/>
          </a:xfrm>
          <a:prstGeom prst="homePlate">
            <a:avLst>
              <a:gd name="adj" fmla="val 20137"/>
            </a:avLst>
          </a:prstGeom>
          <a:solidFill>
            <a:schemeClr val="accent3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8000" tIns="91440" rIns="36000" bIns="91440" anchor="ctr"/>
          <a:lstStyle/>
          <a:p>
            <a:pPr algn="l" eaLnBrk="0" hangingPunct="0"/>
            <a:r>
              <a:rPr lang="en-GB" sz="1200" b="1" dirty="0" smtClean="0">
                <a:solidFill>
                  <a:schemeClr val="accent6"/>
                </a:solidFill>
                <a:cs typeface="Arial" charset="0"/>
              </a:rPr>
              <a:t>Club MGMT Services (Below Premium Segment)</a:t>
            </a:r>
          </a:p>
        </p:txBody>
      </p:sp>
      <p:sp>
        <p:nvSpPr>
          <p:cNvPr id="35" name="AutoShape 2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89412" y="4328863"/>
            <a:ext cx="1503692" cy="719851"/>
          </a:xfrm>
          <a:prstGeom prst="homePlate">
            <a:avLst>
              <a:gd name="adj" fmla="val 20137"/>
            </a:avLst>
          </a:prstGeom>
          <a:solidFill>
            <a:schemeClr val="accent3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8000" tIns="91440" rIns="36000" bIns="91440" anchor="ctr"/>
          <a:lstStyle/>
          <a:p>
            <a:pPr algn="l" eaLnBrk="0" hangingPunct="0"/>
            <a:r>
              <a:rPr lang="en-GB" sz="1200" b="1" dirty="0" smtClean="0">
                <a:solidFill>
                  <a:schemeClr val="accent6"/>
                </a:solidFill>
                <a:cs typeface="Arial" charset="0"/>
              </a:rPr>
              <a:t>Sports Facility MGMT Premium Segment</a:t>
            </a:r>
          </a:p>
        </p:txBody>
      </p:sp>
      <p:sp>
        <p:nvSpPr>
          <p:cNvPr id="36" name="AutoShape 2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09720" y="5361612"/>
            <a:ext cx="1503692" cy="719851"/>
          </a:xfrm>
          <a:prstGeom prst="homePlate">
            <a:avLst>
              <a:gd name="adj" fmla="val 20137"/>
            </a:avLst>
          </a:prstGeom>
          <a:solidFill>
            <a:schemeClr val="accent3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8000" tIns="91440" rIns="36000" bIns="91440" anchor="ctr"/>
          <a:lstStyle/>
          <a:p>
            <a:pPr algn="l" eaLnBrk="0" hangingPunct="0"/>
            <a:r>
              <a:rPr lang="en-GB" sz="1200" b="1" dirty="0" smtClean="0">
                <a:solidFill>
                  <a:schemeClr val="accent6"/>
                </a:solidFill>
                <a:cs typeface="Arial" charset="0"/>
              </a:rPr>
              <a:t>Consultancy Services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889" y="2545196"/>
            <a:ext cx="464923" cy="464923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012" y="2460257"/>
            <a:ext cx="499748" cy="569815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38" r="11795"/>
          <a:stretch/>
        </p:blipFill>
        <p:spPr>
          <a:xfrm>
            <a:off x="6608862" y="2615452"/>
            <a:ext cx="862150" cy="291837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4436" y="2576263"/>
            <a:ext cx="628176" cy="416718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5437812"/>
            <a:ext cx="1090582" cy="533400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924" y="2500063"/>
            <a:ext cx="650695" cy="57637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412" y="4405063"/>
            <a:ext cx="533400" cy="532776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0218" y="4405687"/>
            <a:ext cx="472394" cy="532776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3813412" y="3380412"/>
            <a:ext cx="5181600" cy="71985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45"/>
          <p:cNvSpPr/>
          <p:nvPr/>
        </p:nvSpPr>
        <p:spPr>
          <a:xfrm>
            <a:off x="3813412" y="4344118"/>
            <a:ext cx="5181600" cy="71985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/>
          <p:cNvSpPr/>
          <p:nvPr/>
        </p:nvSpPr>
        <p:spPr>
          <a:xfrm>
            <a:off x="3813412" y="5361612"/>
            <a:ext cx="5181600" cy="71985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4086" y="4428672"/>
            <a:ext cx="644705" cy="483665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100" y="5487451"/>
            <a:ext cx="1048512" cy="420624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411" y="2576263"/>
            <a:ext cx="701001" cy="352762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330" y="4557463"/>
            <a:ext cx="844882" cy="36185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4481262"/>
            <a:ext cx="855026" cy="41167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98" r="19785"/>
          <a:stretch/>
        </p:blipFill>
        <p:spPr>
          <a:xfrm>
            <a:off x="5062138" y="2441812"/>
            <a:ext cx="580074" cy="673196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6" t="32028" r="20834" b="33411"/>
          <a:stretch/>
        </p:blipFill>
        <p:spPr>
          <a:xfrm>
            <a:off x="5620187" y="3490663"/>
            <a:ext cx="1310601" cy="474856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019485" y="3518051"/>
            <a:ext cx="676715" cy="506012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19" r="18128"/>
          <a:stretch/>
        </p:blipFill>
        <p:spPr>
          <a:xfrm>
            <a:off x="7369700" y="5410199"/>
            <a:ext cx="533400" cy="58215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704" y="4570730"/>
            <a:ext cx="1068696" cy="306070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940397" y="3435044"/>
            <a:ext cx="542591" cy="603556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513161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akS24mkmvgIbJzOpa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akS24mkmvgIbJzOpa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akS24mkmvgIbJzOpa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akS24mkmvgIbJzOpa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akS24mkmvgIbJzOp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akS24mkmvgIbJzOpa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akS24mkmvgIbJzOpaG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effectLst>
          <a:outerShdw blurRad="50800" dist="38100" algn="l" rotWithShape="0">
            <a:prstClr val="black">
              <a:alpha val="40000"/>
            </a:prstClr>
          </a:outerShdw>
        </a:effectLst>
      </a:spPr>
      <a:bodyPr wrap="square" rtlCol="0">
        <a:spAutoFit/>
      </a:bodyPr>
      <a:lstStyle>
        <a:defPPr>
          <a:defRPr dirty="0" smtClean="0">
            <a:solidFill>
              <a:schemeClr val="accent2"/>
            </a:solidFill>
            <a:latin typeface="Lucida Sains unicode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0</TotalTime>
  <Words>103</Words>
  <Application>Microsoft Office PowerPoint</Application>
  <PresentationFormat>On-screen Show (4:3)</PresentationFormat>
  <Paragraphs>46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DIN-BoldAlternate</vt:lpstr>
      <vt:lpstr>Office Theme</vt:lpstr>
      <vt:lpstr>Default Desig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oura</dc:creator>
  <cp:lastModifiedBy>Noura Abd El Azim</cp:lastModifiedBy>
  <cp:revision>41</cp:revision>
  <dcterms:created xsi:type="dcterms:W3CDTF">2014-10-27T12:06:19Z</dcterms:created>
  <dcterms:modified xsi:type="dcterms:W3CDTF">2017-10-10T12:07:10Z</dcterms:modified>
</cp:coreProperties>
</file>